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200" d="100"/>
          <a:sy n="200" d="100"/>
        </p:scale>
        <p:origin x="-3821" y="-22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DC77CF-854B-D9FD-3F7C-715048FB07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A33C164-DB8F-6F21-9727-4A7970B5E8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B70D95-9EFD-8E8C-6901-9C8EE8A48F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33F8FC-191A-4F13-AE2A-9EAB9B4EF1B5}" type="datetimeFigureOut">
              <a:rPr lang="en-US" smtClean="0"/>
              <a:t>9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FF162C-09AC-7084-178E-D15911E15B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3C1DCB-5BF9-B813-4007-3948927CE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A462D-99AD-4196-8625-083CEB7AB7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4545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BEAAF4-108B-55FB-D8D9-053CD464F6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0B8AA71-250B-3D40-E1C4-A0B121DC834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758B91-DFDB-9FB0-41DD-522D17000E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33F8FC-191A-4F13-AE2A-9EAB9B4EF1B5}" type="datetimeFigureOut">
              <a:rPr lang="en-US" smtClean="0"/>
              <a:t>9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136786-BFA0-9A9A-64D2-33DE4916B1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7647A3-5CD7-9536-56D8-139472C178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A462D-99AD-4196-8625-083CEB7AB7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6137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3BE8C14-1F81-3C8B-A4AF-AA9E4277E6C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AB945D1-D018-C254-6A59-DA884297125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7D5C20-355A-93E4-7EA4-575C3F4751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33F8FC-191A-4F13-AE2A-9EAB9B4EF1B5}" type="datetimeFigureOut">
              <a:rPr lang="en-US" smtClean="0"/>
              <a:t>9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E1B796-06EE-EFCE-8CDA-F0EF166B29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09DFE-FFB9-1485-F7A2-CA693A14F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A462D-99AD-4196-8625-083CEB7AB7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4058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626CA-0926-1FA9-3416-7BE6FD72C4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8FE705-CC61-5A2A-CD2B-96730B3059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7A76DC-EE09-F85A-1364-A7893130EA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33F8FC-191A-4F13-AE2A-9EAB9B4EF1B5}" type="datetimeFigureOut">
              <a:rPr lang="en-US" smtClean="0"/>
              <a:t>9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2E7785-D43D-A235-B8D3-C477E23DAA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2177B7-0046-5987-ED68-44C4B8FF35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A462D-99AD-4196-8625-083CEB7AB7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5027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C42283-E8FF-76BA-F7A7-ECC89F1B4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A18E4E-1376-6B66-E421-EC95BCAB8D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4D3F5B-D936-E200-7890-1598B8AA7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33F8FC-191A-4F13-AE2A-9EAB9B4EF1B5}" type="datetimeFigureOut">
              <a:rPr lang="en-US" smtClean="0"/>
              <a:t>9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6E5084-7AF3-4B8C-7664-964CE3AA5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FF982B-228E-5013-6E28-F92101BDE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A462D-99AD-4196-8625-083CEB7AB7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5321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415D21-2044-78C5-E5E8-5F27D5088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D80957-82AB-04D8-3111-E49E91B59F5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80AFF3-62BE-A6BE-42E8-9C90491177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2FE7206-DEA4-AEB2-8873-D59A74B65C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33F8FC-191A-4F13-AE2A-9EAB9B4EF1B5}" type="datetimeFigureOut">
              <a:rPr lang="en-US" smtClean="0"/>
              <a:t>9/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986303-E86B-9897-FEB5-A11E902B6C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64FE77-D710-22B9-922A-CF751952F3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A462D-99AD-4196-8625-083CEB7AB7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9511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C15CC4-D27B-A0B0-6B84-8EA8E124EE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53CFFE-4B1D-1804-F37D-F5B589D74A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242B50-417E-E823-8FFD-B03C86BECF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0AD288D-952D-F515-C586-E63C0655940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91EB798-5850-39EE-2ACF-9AF98C65606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04EEB6C-B743-C23B-A4E6-EF3772B2E5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33F8FC-191A-4F13-AE2A-9EAB9B4EF1B5}" type="datetimeFigureOut">
              <a:rPr lang="en-US" smtClean="0"/>
              <a:t>9/4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04B6812-DE86-3758-4C35-D80436B57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79426A-8623-192B-A345-4D1A321BE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A462D-99AD-4196-8625-083CEB7AB7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5696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F32E38-8091-3D78-D608-6AD056851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835D86-9A34-6FE0-B381-99E9766A00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33F8FC-191A-4F13-AE2A-9EAB9B4EF1B5}" type="datetimeFigureOut">
              <a:rPr lang="en-US" smtClean="0"/>
              <a:t>9/4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1989DD-EB9B-F8A9-2D68-5008E0AE7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B14C1A-60F8-1A1A-2510-ADBAC4681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A462D-99AD-4196-8625-083CEB7AB7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131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655225B-AF49-FE58-4ACE-B5CE20E343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33F8FC-191A-4F13-AE2A-9EAB9B4EF1B5}" type="datetimeFigureOut">
              <a:rPr lang="en-US" smtClean="0"/>
              <a:t>9/4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95D346-5D1C-C56E-88E5-E08B341EB7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077C6-819C-16C0-8D2A-E9894C7F9F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A462D-99AD-4196-8625-083CEB7AB7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41016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C39341-E7F5-8F6B-BE96-34E9323AA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41AB71-9D1C-AB54-78DD-2C898F1371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B440AC-FE2B-82AD-5009-EC772AC796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D123C0-B98F-5EBD-82B6-12998C12F3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33F8FC-191A-4F13-AE2A-9EAB9B4EF1B5}" type="datetimeFigureOut">
              <a:rPr lang="en-US" smtClean="0"/>
              <a:t>9/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11457A-DEB1-4BEC-8A42-E2F5E0822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FBF3E0-A3F9-56C9-9DA1-22FCF1C971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A462D-99AD-4196-8625-083CEB7AB7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70892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ED0241-FCB7-E428-A06F-658D5128F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221241-76F6-12BC-E808-7DF6F3AFE1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AE43F6-5DED-44B4-43BD-D7D7A77BCEE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1324CBF-4CF4-B75A-4A33-EB66007162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33F8FC-191A-4F13-AE2A-9EAB9B4EF1B5}" type="datetimeFigureOut">
              <a:rPr lang="en-US" smtClean="0"/>
              <a:t>9/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E5BA27-6E66-BF39-0D0E-C9CEAD4950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2568E1-F820-2E7F-CCE5-4396E06BE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A462D-99AD-4196-8625-083CEB7AB7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16235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8EB07E-1F6E-2680-4095-A074D3F75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2A8E46-4CE7-F680-0400-FA245F530C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4B21D6-AC73-EF23-D29A-41960CB567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33F8FC-191A-4F13-AE2A-9EAB9B4EF1B5}" type="datetimeFigureOut">
              <a:rPr lang="en-US" smtClean="0"/>
              <a:t>9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B043E-37A9-E3C3-B7A4-612626E19E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34E18B-44F0-7031-0A69-537528EFF8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EA462D-99AD-4196-8625-083CEB7AB73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MSIPCMContentMarking" descr="{&quot;HashCode&quot;:-805589438,&quot;Placement&quot;:&quot;Footer&quot;,&quot;Top&quot;:522.0343,&quot;Left&quot;:459.0882,&quot;SlideWidth&quot;:960,&quot;SlideHeight&quot;:540}">
            <a:extLst>
              <a:ext uri="{FF2B5EF4-FFF2-40B4-BE49-F238E27FC236}">
                <a16:creationId xmlns:a16="http://schemas.microsoft.com/office/drawing/2014/main" id="{D6306998-E048-01CA-6DBA-343D0E7E8CEF}"/>
              </a:ext>
            </a:extLst>
          </p:cNvPr>
          <p:cNvSpPr txBox="1"/>
          <p:nvPr userDrawn="1"/>
        </p:nvSpPr>
        <p:spPr>
          <a:xfrm>
            <a:off x="5830420" y="6629836"/>
            <a:ext cx="531161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239436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be 3">
            <a:extLst>
              <a:ext uri="{FF2B5EF4-FFF2-40B4-BE49-F238E27FC236}">
                <a16:creationId xmlns:a16="http://schemas.microsoft.com/office/drawing/2014/main" id="{3871825D-2A87-AA3E-1009-9C5CAF1BFC03}"/>
              </a:ext>
            </a:extLst>
          </p:cNvPr>
          <p:cNvSpPr/>
          <p:nvPr/>
        </p:nvSpPr>
        <p:spPr>
          <a:xfrm>
            <a:off x="4338066" y="2948178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Cube 4">
            <a:extLst>
              <a:ext uri="{FF2B5EF4-FFF2-40B4-BE49-F238E27FC236}">
                <a16:creationId xmlns:a16="http://schemas.microsoft.com/office/drawing/2014/main" id="{C6FD8D3F-3864-8A57-E553-31C49BC59B1B}"/>
              </a:ext>
            </a:extLst>
          </p:cNvPr>
          <p:cNvSpPr/>
          <p:nvPr/>
        </p:nvSpPr>
        <p:spPr>
          <a:xfrm>
            <a:off x="4658106" y="2948178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Cube 5">
            <a:extLst>
              <a:ext uri="{FF2B5EF4-FFF2-40B4-BE49-F238E27FC236}">
                <a16:creationId xmlns:a16="http://schemas.microsoft.com/office/drawing/2014/main" id="{73F6DC7A-FD24-A480-396D-E9713679AA7E}"/>
              </a:ext>
            </a:extLst>
          </p:cNvPr>
          <p:cNvSpPr/>
          <p:nvPr/>
        </p:nvSpPr>
        <p:spPr>
          <a:xfrm>
            <a:off x="4234434" y="3051810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ube 6">
            <a:extLst>
              <a:ext uri="{FF2B5EF4-FFF2-40B4-BE49-F238E27FC236}">
                <a16:creationId xmlns:a16="http://schemas.microsoft.com/office/drawing/2014/main" id="{858C98A6-024E-C46B-A3BE-0B52B6E391F6}"/>
              </a:ext>
            </a:extLst>
          </p:cNvPr>
          <p:cNvSpPr/>
          <p:nvPr/>
        </p:nvSpPr>
        <p:spPr>
          <a:xfrm>
            <a:off x="4551426" y="3051810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ube 7">
            <a:extLst>
              <a:ext uri="{FF2B5EF4-FFF2-40B4-BE49-F238E27FC236}">
                <a16:creationId xmlns:a16="http://schemas.microsoft.com/office/drawing/2014/main" id="{96365D4C-F081-6E02-6CD8-999D070D3288}"/>
              </a:ext>
            </a:extLst>
          </p:cNvPr>
          <p:cNvSpPr/>
          <p:nvPr/>
        </p:nvSpPr>
        <p:spPr>
          <a:xfrm>
            <a:off x="4338066" y="2663952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Cube 8">
            <a:extLst>
              <a:ext uri="{FF2B5EF4-FFF2-40B4-BE49-F238E27FC236}">
                <a16:creationId xmlns:a16="http://schemas.microsoft.com/office/drawing/2014/main" id="{5C035D7B-B294-5C25-E9E7-E0A23065419B}"/>
              </a:ext>
            </a:extLst>
          </p:cNvPr>
          <p:cNvSpPr/>
          <p:nvPr/>
        </p:nvSpPr>
        <p:spPr>
          <a:xfrm>
            <a:off x="4658106" y="2663952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ube 9">
            <a:extLst>
              <a:ext uri="{FF2B5EF4-FFF2-40B4-BE49-F238E27FC236}">
                <a16:creationId xmlns:a16="http://schemas.microsoft.com/office/drawing/2014/main" id="{14E4B51C-BEB0-D9C5-DB61-32579FEC8B8E}"/>
              </a:ext>
            </a:extLst>
          </p:cNvPr>
          <p:cNvSpPr/>
          <p:nvPr/>
        </p:nvSpPr>
        <p:spPr>
          <a:xfrm>
            <a:off x="4234434" y="2767584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Cube 10">
            <a:extLst>
              <a:ext uri="{FF2B5EF4-FFF2-40B4-BE49-F238E27FC236}">
                <a16:creationId xmlns:a16="http://schemas.microsoft.com/office/drawing/2014/main" id="{D54AA0EE-57B2-8B33-61B1-3DFBC761142B}"/>
              </a:ext>
            </a:extLst>
          </p:cNvPr>
          <p:cNvSpPr/>
          <p:nvPr/>
        </p:nvSpPr>
        <p:spPr>
          <a:xfrm>
            <a:off x="4551426" y="2767584"/>
            <a:ext cx="363474" cy="335280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D93B07A-D79D-9F39-E90B-0C57FC096700}"/>
              </a:ext>
            </a:extLst>
          </p:cNvPr>
          <p:cNvSpPr txBox="1"/>
          <p:nvPr/>
        </p:nvSpPr>
        <p:spPr>
          <a:xfrm>
            <a:off x="4968240" y="2726054"/>
            <a:ext cx="22555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  <a:latin typeface="Aptos Serif" panose="020B0502040204020203" pitchFamily="18" charset="0"/>
                <a:ea typeface="Kigelia Light" panose="020B0502040204020203" pitchFamily="34" charset="0"/>
                <a:cs typeface="Aptos Serif" panose="020B0502040204020203" pitchFamily="18" charset="0"/>
              </a:rPr>
              <a:t>ReservoirFlow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C91F578-3E3F-E5DE-CC78-1BB39D30F2F3}"/>
              </a:ext>
            </a:extLst>
          </p:cNvPr>
          <p:cNvSpPr/>
          <p:nvPr/>
        </p:nvSpPr>
        <p:spPr>
          <a:xfrm>
            <a:off x="5021580" y="2663952"/>
            <a:ext cx="2095500" cy="5858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5185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IAAAAAAAAAAwAAAAMAAAAA/////wQAPw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DMemOj5tdGp2OWHktCbSYFAAAAAAADAAAAAAADAAAAAwADAAIA////////BAAAAAMAEAALWxuggGSnk0u3qVPboH0M1AUAAAABAAMAAAACAAMAAAAB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wEDAAAAAwD///////8lAAZMaW5rZWRTaGFwZVByZXNlbnRhdGlvblNldHRpbmdzRGF0YV8wBQAAAAEABAAAAAAABAAAAAIA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DMemOj5tdGp2OWHktCbSYDRGF0YQAbAAAABExpbmtlZFNoYXBlRGF0YQAFAAAAAAACTmFtZQAZAAAATGlua2VkU2hhcGVzRGF0YVByb3BlcnR5ABBWZXJzaW9uAAAAAAAJTGFzdFdyaXRlAFUd4l+KAQAAAAEA/////8YAxgAAAAVfaWQAEAAAAARbG6CAZKeTS7epU9ugfQzUA0RhdGEAUwAAAAhQcmVzZW50YXRpb25TY2FubmVkRm9yTGlua2VkU2hhcGVzAAECTnVtYmVyRm9ybWF0U2VwYXJhdG9yTW9kZQAKAAAAQXV0b21hdGljAAACTmFtZQAkAAAATGlua2VkU2hhcGVQcmVzZW50YXRpb25TZXR0aW5nc0RhdGEAEFZlcnNpb24AAAAAAAlMYXN0V3JpdGUAuh3iX4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</Words>
  <Application>Microsoft Office PowerPoint</Application>
  <PresentationFormat>Widescreen</PresentationFormat>
  <Paragraphs>1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 Serif</vt:lpstr>
      <vt:lpstr>Arial</vt:lpstr>
      <vt:lpstr>Calibri</vt:lpstr>
      <vt:lpstr>Calibri Light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ugrin, Zakariya  SF/HZA-ZC3A</dc:creator>
  <cp:lastModifiedBy>Abugrin, Zakariya  SF/HZA-ZC3A</cp:lastModifiedBy>
  <cp:revision>1</cp:revision>
  <dcterms:created xsi:type="dcterms:W3CDTF">2023-09-04T11:09:17Z</dcterms:created>
  <dcterms:modified xsi:type="dcterms:W3CDTF">2023-09-04T11:58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400c169-dce1-41e3-9e1a-6d4e0f7996c6_Enabled">
    <vt:lpwstr>true</vt:lpwstr>
  </property>
  <property fmtid="{D5CDD505-2E9C-101B-9397-08002B2CF9AE}" pid="3" name="MSIP_Label_e400c169-dce1-41e3-9e1a-6d4e0f7996c6_SetDate">
    <vt:lpwstr>2023-09-04T11:58:04Z</vt:lpwstr>
  </property>
  <property fmtid="{D5CDD505-2E9C-101B-9397-08002B2CF9AE}" pid="4" name="MSIP_Label_e400c169-dce1-41e3-9e1a-6d4e0f7996c6_Method">
    <vt:lpwstr>Privileged</vt:lpwstr>
  </property>
  <property fmtid="{D5CDD505-2E9C-101B-9397-08002B2CF9AE}" pid="5" name="MSIP_Label_e400c169-dce1-41e3-9e1a-6d4e0f7996c6_Name">
    <vt:lpwstr>Public</vt:lpwstr>
  </property>
  <property fmtid="{D5CDD505-2E9C-101B-9397-08002B2CF9AE}" pid="6" name="MSIP_Label_e400c169-dce1-41e3-9e1a-6d4e0f7996c6_SiteId">
    <vt:lpwstr>67416604-6509-4014-9859-45e709f53d3f</vt:lpwstr>
  </property>
  <property fmtid="{D5CDD505-2E9C-101B-9397-08002B2CF9AE}" pid="7" name="MSIP_Label_e400c169-dce1-41e3-9e1a-6d4e0f7996c6_ActionId">
    <vt:lpwstr>ad8176a0-128d-4825-bad6-da049383150f</vt:lpwstr>
  </property>
  <property fmtid="{D5CDD505-2E9C-101B-9397-08002B2CF9AE}" pid="8" name="MSIP_Label_e400c169-dce1-41e3-9e1a-6d4e0f7996c6_ContentBits">
    <vt:lpwstr>2</vt:lpwstr>
  </property>
</Properties>
</file>